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331" r:id="rId5"/>
    <p:sldId id="258" r:id="rId6"/>
    <p:sldId id="321" r:id="rId7"/>
    <p:sldId id="301" r:id="rId8"/>
    <p:sldId id="330" r:id="rId9"/>
    <p:sldId id="329" r:id="rId10"/>
    <p:sldId id="275" r:id="rId11"/>
    <p:sldId id="328" r:id="rId12"/>
    <p:sldId id="306" r:id="rId13"/>
    <p:sldId id="322" r:id="rId14"/>
    <p:sldId id="323" r:id="rId15"/>
    <p:sldId id="324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58" autoAdjust="0"/>
    <p:restoredTop sz="94660"/>
  </p:normalViewPr>
  <p:slideViewPr>
    <p:cSldViewPr>
      <p:cViewPr varScale="1">
        <p:scale>
          <a:sx n="81" d="100"/>
          <a:sy n="81" d="100"/>
        </p:scale>
        <p:origin x="936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DEFECT%20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TestCaseFinal.xlsx" TargetMode="External"/><Relationship Id="rId4" Type="http://schemas.openxmlformats.org/officeDocument/2006/relationships/hyperlink" Target="Data_Sheet.xl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219200" y="1699370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penCart – Home and Login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9.09 %  80.59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0.90% 19.40%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98.14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01.85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defaul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Without 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92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 A programmer while designing and building the software can make mistakes or error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mistakes or errors mean that there are flaws in the software. These are called defects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defects are captured in a defect re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B. Sri Vani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150682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Ch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Anudeep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                  150701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Ch. Lakshmi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Kalyani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150702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                  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B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SreeLekha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150683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The OpenCart demo sto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application.</a:t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Projec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  <a:b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u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for adding the electronic device to the cart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the currency according to his preference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Home and Login :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s the website when we click on link and the user can login after entering the valid username and password. 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add to cart are :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 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Register :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s the website when we click on link and the user can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Register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fter entering the valid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etails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browser.</a:t>
            </a: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RegistrationPage () – directs the user to the Registration entries page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164933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Change in preferred Currency can not be retained by the website after re-login the website in different brows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not be added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grating test cases, defects within one file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Handling data sheet and object repository in .xlsx format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3284339"/>
              </p:ext>
            </p:extLst>
          </p:nvPr>
        </p:nvGraphicFramePr>
        <p:xfrm>
          <a:off x="76198" y="1524000"/>
          <a:ext cx="8991604" cy="388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088"/>
                <a:gridCol w="1284606"/>
                <a:gridCol w="1284606"/>
                <a:gridCol w="1057910"/>
                <a:gridCol w="1141869"/>
                <a:gridCol w="898386"/>
                <a:gridCol w="831215"/>
                <a:gridCol w="988694"/>
                <a:gridCol w="824230"/>
              </a:tblGrid>
              <a:tr h="1110343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  <a:endParaRPr lang="en-US" dirty="0" smtClean="0">
                        <a:latin typeface="Candara" panose="020E0502030303020204" pitchFamily="34" charset="0"/>
                      </a:endParaRP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  <a:endParaRPr lang="en-US" dirty="0" smtClean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44137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3</TotalTime>
  <Words>346</Words>
  <Application>Microsoft Office PowerPoint</Application>
  <PresentationFormat>On-screen Show (4:3)</PresentationFormat>
  <Paragraphs>125</Paragraphs>
  <Slides>1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Object Repository </vt:lpstr>
      <vt:lpstr>DFDR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Bobbili, Sri Vani</cp:lastModifiedBy>
  <cp:revision>191</cp:revision>
  <dcterms:created xsi:type="dcterms:W3CDTF">2015-08-27T08:52:20Z</dcterms:created>
  <dcterms:modified xsi:type="dcterms:W3CDTF">2018-08-04T10:44:25Z</dcterms:modified>
</cp:coreProperties>
</file>